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2" r:id="rId9"/>
    <p:sldId id="549" r:id="rId10"/>
    <p:sldId id="550" r:id="rId11"/>
    <p:sldId id="553" r:id="rId12"/>
    <p:sldId id="551" r:id="rId13"/>
    <p:sldId id="269" r:id="rId14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9A50"/>
    <a:srgbClr val="D0D91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A1B397-565E-4CF9-BE85-5D1258C5A114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5546A0D-E9E9-43F9-A55E-1D4E93A3D264}">
      <dgm:prSet phldrT="[Text]"/>
      <dgm:spPr/>
      <dgm:t>
        <a:bodyPr/>
        <a:lstStyle/>
        <a:p>
          <a:r>
            <a:rPr lang="de-DE" dirty="0" smtClean="0"/>
            <a:t>SQL</a:t>
          </a:r>
          <a:endParaRPr lang="de-DE" dirty="0"/>
        </a:p>
      </dgm:t>
    </dgm:pt>
    <dgm:pt modelId="{5FD4A756-681C-440D-A7D3-BB4551BC3A6D}" type="parTrans" cxnId="{13174AF5-3562-4DA7-9E3B-13B3A77FE2D6}">
      <dgm:prSet/>
      <dgm:spPr/>
      <dgm:t>
        <a:bodyPr/>
        <a:lstStyle/>
        <a:p>
          <a:endParaRPr lang="de-DE"/>
        </a:p>
      </dgm:t>
    </dgm:pt>
    <dgm:pt modelId="{302BF025-BF10-4FD6-9C81-013D6B0C04A2}" type="sibTrans" cxnId="{13174AF5-3562-4DA7-9E3B-13B3A77FE2D6}">
      <dgm:prSet/>
      <dgm:spPr/>
      <dgm:t>
        <a:bodyPr/>
        <a:lstStyle/>
        <a:p>
          <a:endParaRPr lang="de-DE"/>
        </a:p>
      </dgm:t>
    </dgm:pt>
    <dgm:pt modelId="{ADFF18FE-080A-4A02-B001-659467F374F8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de-DE" dirty="0" smtClean="0"/>
            <a:t>DDL</a:t>
          </a:r>
          <a:endParaRPr lang="de-DE" dirty="0"/>
        </a:p>
      </dgm:t>
    </dgm:pt>
    <dgm:pt modelId="{794D8446-8AB0-4119-A94C-0554DD56ED03}" type="parTrans" cxnId="{2763A863-304A-4877-B2A3-36B1BB379E15}">
      <dgm:prSet/>
      <dgm:spPr/>
      <dgm:t>
        <a:bodyPr/>
        <a:lstStyle/>
        <a:p>
          <a:endParaRPr lang="de-DE"/>
        </a:p>
      </dgm:t>
    </dgm:pt>
    <dgm:pt modelId="{2ECF4F53-4B8C-44A9-A0C2-10429D9FCCEB}" type="sibTrans" cxnId="{2763A863-304A-4877-B2A3-36B1BB379E15}">
      <dgm:prSet/>
      <dgm:spPr/>
      <dgm:t>
        <a:bodyPr/>
        <a:lstStyle/>
        <a:p>
          <a:endParaRPr lang="de-DE"/>
        </a:p>
      </dgm:t>
    </dgm:pt>
    <dgm:pt modelId="{AE69CCEA-CE00-4464-BE89-E07C75DD889B}">
      <dgm:prSet phldrT="[Text]"/>
      <dgm:spPr>
        <a:solidFill>
          <a:srgbClr val="D0D91D"/>
        </a:solidFill>
      </dgm:spPr>
      <dgm:t>
        <a:bodyPr/>
        <a:lstStyle/>
        <a:p>
          <a:r>
            <a:rPr lang="de-DE" dirty="0" smtClean="0"/>
            <a:t>DML</a:t>
          </a:r>
          <a:endParaRPr lang="de-DE" dirty="0"/>
        </a:p>
      </dgm:t>
    </dgm:pt>
    <dgm:pt modelId="{12A1DA8B-B4D6-4EF0-A6CC-BDE1AA4EACF1}" type="parTrans" cxnId="{35B5BE42-1C60-4091-9F52-C98AC1C9ECBA}">
      <dgm:prSet/>
      <dgm:spPr/>
      <dgm:t>
        <a:bodyPr/>
        <a:lstStyle/>
        <a:p>
          <a:endParaRPr lang="de-DE"/>
        </a:p>
      </dgm:t>
    </dgm:pt>
    <dgm:pt modelId="{BFBC10C5-1CCF-4321-9E2F-668C5F8E15A1}" type="sibTrans" cxnId="{35B5BE42-1C60-4091-9F52-C98AC1C9ECBA}">
      <dgm:prSet/>
      <dgm:spPr/>
      <dgm:t>
        <a:bodyPr/>
        <a:lstStyle/>
        <a:p>
          <a:endParaRPr lang="de-DE"/>
        </a:p>
      </dgm:t>
    </dgm:pt>
    <dgm:pt modelId="{01622D6B-E862-4E6B-B8F5-160C5C274AFD}">
      <dgm:prSet phldrT="[Text]"/>
      <dgm:spPr>
        <a:solidFill>
          <a:srgbClr val="DE9A50"/>
        </a:solidFill>
      </dgm:spPr>
      <dgm:t>
        <a:bodyPr/>
        <a:lstStyle/>
        <a:p>
          <a:r>
            <a:rPr lang="de-DE" dirty="0" smtClean="0"/>
            <a:t>DCL</a:t>
          </a:r>
          <a:endParaRPr lang="de-DE" dirty="0"/>
        </a:p>
      </dgm:t>
    </dgm:pt>
    <dgm:pt modelId="{B026F88B-34B3-45DA-961A-D639192B847B}" type="parTrans" cxnId="{05B8E002-7C0D-4055-A836-2FEB9077AC51}">
      <dgm:prSet/>
      <dgm:spPr/>
      <dgm:t>
        <a:bodyPr/>
        <a:lstStyle/>
        <a:p>
          <a:endParaRPr lang="de-DE"/>
        </a:p>
      </dgm:t>
    </dgm:pt>
    <dgm:pt modelId="{E5009E90-0DAD-496E-9A17-BB1A5D696B80}" type="sibTrans" cxnId="{05B8E002-7C0D-4055-A836-2FEB9077AC51}">
      <dgm:prSet/>
      <dgm:spPr/>
      <dgm:t>
        <a:bodyPr/>
        <a:lstStyle/>
        <a:p>
          <a:endParaRPr lang="de-DE"/>
        </a:p>
      </dgm:t>
    </dgm:pt>
    <dgm:pt modelId="{D9E8C48C-6412-4126-9903-9EACE77D759A}">
      <dgm:prSet phldrT="[Text]"/>
      <dgm:spPr/>
      <dgm:t>
        <a:bodyPr/>
        <a:lstStyle/>
        <a:p>
          <a:r>
            <a:rPr lang="de-DE" dirty="0" smtClean="0"/>
            <a:t>TCL</a:t>
          </a:r>
          <a:endParaRPr lang="de-DE" dirty="0"/>
        </a:p>
      </dgm:t>
    </dgm:pt>
    <dgm:pt modelId="{307999F8-DF36-4DD0-92AB-BC2A22810179}" type="parTrans" cxnId="{EC562451-66ED-45F0-A92C-11C8EFD971E0}">
      <dgm:prSet/>
      <dgm:spPr/>
      <dgm:t>
        <a:bodyPr/>
        <a:lstStyle/>
        <a:p>
          <a:endParaRPr lang="de-DE"/>
        </a:p>
      </dgm:t>
    </dgm:pt>
    <dgm:pt modelId="{1805F2A1-D7F3-4D17-AD6C-D784BCCFF58A}" type="sibTrans" cxnId="{EC562451-66ED-45F0-A92C-11C8EFD971E0}">
      <dgm:prSet/>
      <dgm:spPr/>
      <dgm:t>
        <a:bodyPr/>
        <a:lstStyle/>
        <a:p>
          <a:endParaRPr lang="de-DE"/>
        </a:p>
      </dgm:t>
    </dgm:pt>
    <dgm:pt modelId="{B2D79D30-0E69-4139-9C88-61EDA9050FDC}" type="pres">
      <dgm:prSet presAssocID="{13A1B397-565E-4CF9-BE85-5D1258C5A114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3DD5E68-AFEC-4A3B-82C6-C3E42BD67EB7}" type="pres">
      <dgm:prSet presAssocID="{D5546A0D-E9E9-43F9-A55E-1D4E93A3D264}" presName="root1" presStyleCnt="0"/>
      <dgm:spPr/>
    </dgm:pt>
    <dgm:pt modelId="{38FA7E49-FD69-4EDC-AEC2-E1369C52CC68}" type="pres">
      <dgm:prSet presAssocID="{D5546A0D-E9E9-43F9-A55E-1D4E93A3D264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D3E1B24-9179-4715-A99F-19BA7FFE862E}" type="pres">
      <dgm:prSet presAssocID="{D5546A0D-E9E9-43F9-A55E-1D4E93A3D264}" presName="level2hierChild" presStyleCnt="0"/>
      <dgm:spPr/>
    </dgm:pt>
    <dgm:pt modelId="{37534E3E-3479-46CC-9351-7FA3F9B33F42}" type="pres">
      <dgm:prSet presAssocID="{794D8446-8AB0-4119-A94C-0554DD56ED03}" presName="conn2-1" presStyleLbl="parChTrans1D2" presStyleIdx="0" presStyleCnt="4"/>
      <dgm:spPr/>
      <dgm:t>
        <a:bodyPr/>
        <a:lstStyle/>
        <a:p>
          <a:endParaRPr lang="de-DE"/>
        </a:p>
      </dgm:t>
    </dgm:pt>
    <dgm:pt modelId="{B475A1C9-8198-4CCA-9DB9-7BF441F4783E}" type="pres">
      <dgm:prSet presAssocID="{794D8446-8AB0-4119-A94C-0554DD56ED03}" presName="connTx" presStyleLbl="parChTrans1D2" presStyleIdx="0" presStyleCnt="4"/>
      <dgm:spPr/>
      <dgm:t>
        <a:bodyPr/>
        <a:lstStyle/>
        <a:p>
          <a:endParaRPr lang="de-DE"/>
        </a:p>
      </dgm:t>
    </dgm:pt>
    <dgm:pt modelId="{499A8159-9B13-49B4-A29A-5D25F085E50A}" type="pres">
      <dgm:prSet presAssocID="{ADFF18FE-080A-4A02-B001-659467F374F8}" presName="root2" presStyleCnt="0"/>
      <dgm:spPr/>
    </dgm:pt>
    <dgm:pt modelId="{53727E68-3A65-4F54-B389-1662651042E8}" type="pres">
      <dgm:prSet presAssocID="{ADFF18FE-080A-4A02-B001-659467F374F8}" presName="LevelTwoTextNode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AAA7BC5-9398-40FF-9713-71A7B8DE5937}" type="pres">
      <dgm:prSet presAssocID="{ADFF18FE-080A-4A02-B001-659467F374F8}" presName="level3hierChild" presStyleCnt="0"/>
      <dgm:spPr/>
    </dgm:pt>
    <dgm:pt modelId="{31D5E26A-D979-491A-9C3A-5F23DE802715}" type="pres">
      <dgm:prSet presAssocID="{12A1DA8B-B4D6-4EF0-A6CC-BDE1AA4EACF1}" presName="conn2-1" presStyleLbl="parChTrans1D2" presStyleIdx="1" presStyleCnt="4"/>
      <dgm:spPr/>
      <dgm:t>
        <a:bodyPr/>
        <a:lstStyle/>
        <a:p>
          <a:endParaRPr lang="de-DE"/>
        </a:p>
      </dgm:t>
    </dgm:pt>
    <dgm:pt modelId="{75B9D06C-7787-436F-B905-F95EBA3C30F1}" type="pres">
      <dgm:prSet presAssocID="{12A1DA8B-B4D6-4EF0-A6CC-BDE1AA4EACF1}" presName="connTx" presStyleLbl="parChTrans1D2" presStyleIdx="1" presStyleCnt="4"/>
      <dgm:spPr/>
      <dgm:t>
        <a:bodyPr/>
        <a:lstStyle/>
        <a:p>
          <a:endParaRPr lang="de-DE"/>
        </a:p>
      </dgm:t>
    </dgm:pt>
    <dgm:pt modelId="{8CDDF40D-1510-4784-AB23-F16AADCBB78D}" type="pres">
      <dgm:prSet presAssocID="{AE69CCEA-CE00-4464-BE89-E07C75DD889B}" presName="root2" presStyleCnt="0"/>
      <dgm:spPr/>
    </dgm:pt>
    <dgm:pt modelId="{C60EE992-18B3-4DD4-9424-2334EE538BB8}" type="pres">
      <dgm:prSet presAssocID="{AE69CCEA-CE00-4464-BE89-E07C75DD889B}" presName="LevelTwoTextNode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6B42FDC-C479-4452-9758-5C34976D1B43}" type="pres">
      <dgm:prSet presAssocID="{AE69CCEA-CE00-4464-BE89-E07C75DD889B}" presName="level3hierChild" presStyleCnt="0"/>
      <dgm:spPr/>
    </dgm:pt>
    <dgm:pt modelId="{CEF44A19-433C-4CE9-810E-E545540DE7A8}" type="pres">
      <dgm:prSet presAssocID="{B026F88B-34B3-45DA-961A-D639192B847B}" presName="conn2-1" presStyleLbl="parChTrans1D2" presStyleIdx="2" presStyleCnt="4"/>
      <dgm:spPr/>
      <dgm:t>
        <a:bodyPr/>
        <a:lstStyle/>
        <a:p>
          <a:endParaRPr lang="de-DE"/>
        </a:p>
      </dgm:t>
    </dgm:pt>
    <dgm:pt modelId="{326F04C8-13A5-48B6-B7A6-249492A53A3E}" type="pres">
      <dgm:prSet presAssocID="{B026F88B-34B3-45DA-961A-D639192B847B}" presName="connTx" presStyleLbl="parChTrans1D2" presStyleIdx="2" presStyleCnt="4"/>
      <dgm:spPr/>
      <dgm:t>
        <a:bodyPr/>
        <a:lstStyle/>
        <a:p>
          <a:endParaRPr lang="de-DE"/>
        </a:p>
      </dgm:t>
    </dgm:pt>
    <dgm:pt modelId="{7A8F3DB0-528B-4C5E-B2C6-06EBF55BD67D}" type="pres">
      <dgm:prSet presAssocID="{01622D6B-E862-4E6B-B8F5-160C5C274AFD}" presName="root2" presStyleCnt="0"/>
      <dgm:spPr/>
    </dgm:pt>
    <dgm:pt modelId="{0DBE7C78-B023-4D56-B645-0C24C0E7D7F8}" type="pres">
      <dgm:prSet presAssocID="{01622D6B-E862-4E6B-B8F5-160C5C274AFD}" presName="LevelTwoTextNode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52770EF-2AB8-47CC-B359-12968AC3E174}" type="pres">
      <dgm:prSet presAssocID="{01622D6B-E862-4E6B-B8F5-160C5C274AFD}" presName="level3hierChild" presStyleCnt="0"/>
      <dgm:spPr/>
    </dgm:pt>
    <dgm:pt modelId="{49E4987C-98FE-4039-8BED-035244EEBB45}" type="pres">
      <dgm:prSet presAssocID="{307999F8-DF36-4DD0-92AB-BC2A22810179}" presName="conn2-1" presStyleLbl="parChTrans1D2" presStyleIdx="3" presStyleCnt="4"/>
      <dgm:spPr/>
      <dgm:t>
        <a:bodyPr/>
        <a:lstStyle/>
        <a:p>
          <a:endParaRPr lang="de-DE"/>
        </a:p>
      </dgm:t>
    </dgm:pt>
    <dgm:pt modelId="{A4BBB152-285E-48A9-B645-041E44827835}" type="pres">
      <dgm:prSet presAssocID="{307999F8-DF36-4DD0-92AB-BC2A22810179}" presName="connTx" presStyleLbl="parChTrans1D2" presStyleIdx="3" presStyleCnt="4"/>
      <dgm:spPr/>
      <dgm:t>
        <a:bodyPr/>
        <a:lstStyle/>
        <a:p>
          <a:endParaRPr lang="de-DE"/>
        </a:p>
      </dgm:t>
    </dgm:pt>
    <dgm:pt modelId="{775165DF-88E7-4C3D-BD0D-10B070D7826B}" type="pres">
      <dgm:prSet presAssocID="{D9E8C48C-6412-4126-9903-9EACE77D759A}" presName="root2" presStyleCnt="0"/>
      <dgm:spPr/>
    </dgm:pt>
    <dgm:pt modelId="{3870D173-4236-4681-8646-83AE3B0FF44E}" type="pres">
      <dgm:prSet presAssocID="{D9E8C48C-6412-4126-9903-9EACE77D759A}" presName="LevelTwoTextNode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04C0CD3-38C6-48CB-96E3-64A39156A69C}" type="pres">
      <dgm:prSet presAssocID="{D9E8C48C-6412-4126-9903-9EACE77D759A}" presName="level3hierChild" presStyleCnt="0"/>
      <dgm:spPr/>
    </dgm:pt>
  </dgm:ptLst>
  <dgm:cxnLst>
    <dgm:cxn modelId="{F6B4575B-4506-4175-A089-AA47575E29EF}" type="presOf" srcId="{01622D6B-E862-4E6B-B8F5-160C5C274AFD}" destId="{0DBE7C78-B023-4D56-B645-0C24C0E7D7F8}" srcOrd="0" destOrd="0" presId="urn:microsoft.com/office/officeart/2008/layout/HorizontalMultiLevelHierarchy"/>
    <dgm:cxn modelId="{DFFCB1C3-1AF7-44C1-82B6-6BBA11CA00F1}" type="presOf" srcId="{AE69CCEA-CE00-4464-BE89-E07C75DD889B}" destId="{C60EE992-18B3-4DD4-9424-2334EE538BB8}" srcOrd="0" destOrd="0" presId="urn:microsoft.com/office/officeart/2008/layout/HorizontalMultiLevelHierarchy"/>
    <dgm:cxn modelId="{2763A863-304A-4877-B2A3-36B1BB379E15}" srcId="{D5546A0D-E9E9-43F9-A55E-1D4E93A3D264}" destId="{ADFF18FE-080A-4A02-B001-659467F374F8}" srcOrd="0" destOrd="0" parTransId="{794D8446-8AB0-4119-A94C-0554DD56ED03}" sibTransId="{2ECF4F53-4B8C-44A9-A0C2-10429D9FCCEB}"/>
    <dgm:cxn modelId="{D4E6EB10-39AD-455D-8E52-BF87318EE888}" type="presOf" srcId="{12A1DA8B-B4D6-4EF0-A6CC-BDE1AA4EACF1}" destId="{31D5E26A-D979-491A-9C3A-5F23DE802715}" srcOrd="0" destOrd="0" presId="urn:microsoft.com/office/officeart/2008/layout/HorizontalMultiLevelHierarchy"/>
    <dgm:cxn modelId="{E3FB1D26-5A77-4FDC-9C78-7ACA291D5C57}" type="presOf" srcId="{B026F88B-34B3-45DA-961A-D639192B847B}" destId="{326F04C8-13A5-48B6-B7A6-249492A53A3E}" srcOrd="1" destOrd="0" presId="urn:microsoft.com/office/officeart/2008/layout/HorizontalMultiLevelHierarchy"/>
    <dgm:cxn modelId="{35B5BE42-1C60-4091-9F52-C98AC1C9ECBA}" srcId="{D5546A0D-E9E9-43F9-A55E-1D4E93A3D264}" destId="{AE69CCEA-CE00-4464-BE89-E07C75DD889B}" srcOrd="1" destOrd="0" parTransId="{12A1DA8B-B4D6-4EF0-A6CC-BDE1AA4EACF1}" sibTransId="{BFBC10C5-1CCF-4321-9E2F-668C5F8E15A1}"/>
    <dgm:cxn modelId="{31F5393C-77CB-4F40-9844-CF633D446957}" type="presOf" srcId="{794D8446-8AB0-4119-A94C-0554DD56ED03}" destId="{B475A1C9-8198-4CCA-9DB9-7BF441F4783E}" srcOrd="1" destOrd="0" presId="urn:microsoft.com/office/officeart/2008/layout/HorizontalMultiLevelHierarchy"/>
    <dgm:cxn modelId="{CF87C3B8-E35A-4F13-B80D-7DE58A77A733}" type="presOf" srcId="{B026F88B-34B3-45DA-961A-D639192B847B}" destId="{CEF44A19-433C-4CE9-810E-E545540DE7A8}" srcOrd="0" destOrd="0" presId="urn:microsoft.com/office/officeart/2008/layout/HorizontalMultiLevelHierarchy"/>
    <dgm:cxn modelId="{F4E62314-3A77-4EDD-BC64-A0AB064E4329}" type="presOf" srcId="{ADFF18FE-080A-4A02-B001-659467F374F8}" destId="{53727E68-3A65-4F54-B389-1662651042E8}" srcOrd="0" destOrd="0" presId="urn:microsoft.com/office/officeart/2008/layout/HorizontalMultiLevelHierarchy"/>
    <dgm:cxn modelId="{C28908E7-7785-4DE0-9601-F0ABF8B76659}" type="presOf" srcId="{D5546A0D-E9E9-43F9-A55E-1D4E93A3D264}" destId="{38FA7E49-FD69-4EDC-AEC2-E1369C52CC68}" srcOrd="0" destOrd="0" presId="urn:microsoft.com/office/officeart/2008/layout/HorizontalMultiLevelHierarchy"/>
    <dgm:cxn modelId="{24009649-A28F-41A2-BF8D-46FCBDB0063F}" type="presOf" srcId="{12A1DA8B-B4D6-4EF0-A6CC-BDE1AA4EACF1}" destId="{75B9D06C-7787-436F-B905-F95EBA3C30F1}" srcOrd="1" destOrd="0" presId="urn:microsoft.com/office/officeart/2008/layout/HorizontalMultiLevelHierarchy"/>
    <dgm:cxn modelId="{13174AF5-3562-4DA7-9E3B-13B3A77FE2D6}" srcId="{13A1B397-565E-4CF9-BE85-5D1258C5A114}" destId="{D5546A0D-E9E9-43F9-A55E-1D4E93A3D264}" srcOrd="0" destOrd="0" parTransId="{5FD4A756-681C-440D-A7D3-BB4551BC3A6D}" sibTransId="{302BF025-BF10-4FD6-9C81-013D6B0C04A2}"/>
    <dgm:cxn modelId="{3791BF4B-F2D5-4B92-BE0F-30C43A0D6DFD}" type="presOf" srcId="{13A1B397-565E-4CF9-BE85-5D1258C5A114}" destId="{B2D79D30-0E69-4139-9C88-61EDA9050FDC}" srcOrd="0" destOrd="0" presId="urn:microsoft.com/office/officeart/2008/layout/HorizontalMultiLevelHierarchy"/>
    <dgm:cxn modelId="{F907162F-9000-41C7-801A-8341EB46BBCF}" type="presOf" srcId="{307999F8-DF36-4DD0-92AB-BC2A22810179}" destId="{49E4987C-98FE-4039-8BED-035244EEBB45}" srcOrd="0" destOrd="0" presId="urn:microsoft.com/office/officeart/2008/layout/HorizontalMultiLevelHierarchy"/>
    <dgm:cxn modelId="{05B8E002-7C0D-4055-A836-2FEB9077AC51}" srcId="{D5546A0D-E9E9-43F9-A55E-1D4E93A3D264}" destId="{01622D6B-E862-4E6B-B8F5-160C5C274AFD}" srcOrd="2" destOrd="0" parTransId="{B026F88B-34B3-45DA-961A-D639192B847B}" sibTransId="{E5009E90-0DAD-496E-9A17-BB1A5D696B80}"/>
    <dgm:cxn modelId="{EC562451-66ED-45F0-A92C-11C8EFD971E0}" srcId="{D5546A0D-E9E9-43F9-A55E-1D4E93A3D264}" destId="{D9E8C48C-6412-4126-9903-9EACE77D759A}" srcOrd="3" destOrd="0" parTransId="{307999F8-DF36-4DD0-92AB-BC2A22810179}" sibTransId="{1805F2A1-D7F3-4D17-AD6C-D784BCCFF58A}"/>
    <dgm:cxn modelId="{1CFA8435-B51F-497F-AB78-DB14BB8B83FE}" type="presOf" srcId="{307999F8-DF36-4DD0-92AB-BC2A22810179}" destId="{A4BBB152-285E-48A9-B645-041E44827835}" srcOrd="1" destOrd="0" presId="urn:microsoft.com/office/officeart/2008/layout/HorizontalMultiLevelHierarchy"/>
    <dgm:cxn modelId="{294BD50E-B575-4585-9328-BEAF04E4B841}" type="presOf" srcId="{794D8446-8AB0-4119-A94C-0554DD56ED03}" destId="{37534E3E-3479-46CC-9351-7FA3F9B33F42}" srcOrd="0" destOrd="0" presId="urn:microsoft.com/office/officeart/2008/layout/HorizontalMultiLevelHierarchy"/>
    <dgm:cxn modelId="{58CA5466-8FCE-48FE-947E-5BC0C6441887}" type="presOf" srcId="{D9E8C48C-6412-4126-9903-9EACE77D759A}" destId="{3870D173-4236-4681-8646-83AE3B0FF44E}" srcOrd="0" destOrd="0" presId="urn:microsoft.com/office/officeart/2008/layout/HorizontalMultiLevelHierarchy"/>
    <dgm:cxn modelId="{EC1A01FC-3845-4558-A3D1-093599D0FA56}" type="presParOf" srcId="{B2D79D30-0E69-4139-9C88-61EDA9050FDC}" destId="{A3DD5E68-AFEC-4A3B-82C6-C3E42BD67EB7}" srcOrd="0" destOrd="0" presId="urn:microsoft.com/office/officeart/2008/layout/HorizontalMultiLevelHierarchy"/>
    <dgm:cxn modelId="{2CC59DEB-53F3-49C7-A834-B48594E42CF0}" type="presParOf" srcId="{A3DD5E68-AFEC-4A3B-82C6-C3E42BD67EB7}" destId="{38FA7E49-FD69-4EDC-AEC2-E1369C52CC68}" srcOrd="0" destOrd="0" presId="urn:microsoft.com/office/officeart/2008/layout/HorizontalMultiLevelHierarchy"/>
    <dgm:cxn modelId="{4648BC37-3B33-46CC-872D-00F40D815396}" type="presParOf" srcId="{A3DD5E68-AFEC-4A3B-82C6-C3E42BD67EB7}" destId="{4D3E1B24-9179-4715-A99F-19BA7FFE862E}" srcOrd="1" destOrd="0" presId="urn:microsoft.com/office/officeart/2008/layout/HorizontalMultiLevelHierarchy"/>
    <dgm:cxn modelId="{36CD550E-5AE2-4192-B76A-E719D8E4C1A2}" type="presParOf" srcId="{4D3E1B24-9179-4715-A99F-19BA7FFE862E}" destId="{37534E3E-3479-46CC-9351-7FA3F9B33F42}" srcOrd="0" destOrd="0" presId="urn:microsoft.com/office/officeart/2008/layout/HorizontalMultiLevelHierarchy"/>
    <dgm:cxn modelId="{3BB71689-00E1-4369-A71C-EE9544F56195}" type="presParOf" srcId="{37534E3E-3479-46CC-9351-7FA3F9B33F42}" destId="{B475A1C9-8198-4CCA-9DB9-7BF441F4783E}" srcOrd="0" destOrd="0" presId="urn:microsoft.com/office/officeart/2008/layout/HorizontalMultiLevelHierarchy"/>
    <dgm:cxn modelId="{65AD03FD-E969-471E-96E3-60F54D09FE47}" type="presParOf" srcId="{4D3E1B24-9179-4715-A99F-19BA7FFE862E}" destId="{499A8159-9B13-49B4-A29A-5D25F085E50A}" srcOrd="1" destOrd="0" presId="urn:microsoft.com/office/officeart/2008/layout/HorizontalMultiLevelHierarchy"/>
    <dgm:cxn modelId="{293424E8-7476-43FE-8D71-55C403AA098D}" type="presParOf" srcId="{499A8159-9B13-49B4-A29A-5D25F085E50A}" destId="{53727E68-3A65-4F54-B389-1662651042E8}" srcOrd="0" destOrd="0" presId="urn:microsoft.com/office/officeart/2008/layout/HorizontalMultiLevelHierarchy"/>
    <dgm:cxn modelId="{77E9D075-DDBE-458B-94DF-1E37905FC481}" type="presParOf" srcId="{499A8159-9B13-49B4-A29A-5D25F085E50A}" destId="{5AAA7BC5-9398-40FF-9713-71A7B8DE5937}" srcOrd="1" destOrd="0" presId="urn:microsoft.com/office/officeart/2008/layout/HorizontalMultiLevelHierarchy"/>
    <dgm:cxn modelId="{C7F5FEAF-682C-43F5-8F4E-36E24D1DD28E}" type="presParOf" srcId="{4D3E1B24-9179-4715-A99F-19BA7FFE862E}" destId="{31D5E26A-D979-491A-9C3A-5F23DE802715}" srcOrd="2" destOrd="0" presId="urn:microsoft.com/office/officeart/2008/layout/HorizontalMultiLevelHierarchy"/>
    <dgm:cxn modelId="{9A4B6435-20D3-485F-AB77-D793004187D5}" type="presParOf" srcId="{31D5E26A-D979-491A-9C3A-5F23DE802715}" destId="{75B9D06C-7787-436F-B905-F95EBA3C30F1}" srcOrd="0" destOrd="0" presId="urn:microsoft.com/office/officeart/2008/layout/HorizontalMultiLevelHierarchy"/>
    <dgm:cxn modelId="{AB09621E-3880-4148-979A-7ECBB047C8CF}" type="presParOf" srcId="{4D3E1B24-9179-4715-A99F-19BA7FFE862E}" destId="{8CDDF40D-1510-4784-AB23-F16AADCBB78D}" srcOrd="3" destOrd="0" presId="urn:microsoft.com/office/officeart/2008/layout/HorizontalMultiLevelHierarchy"/>
    <dgm:cxn modelId="{F40366AD-56AB-4040-B7BF-194E491A4F4C}" type="presParOf" srcId="{8CDDF40D-1510-4784-AB23-F16AADCBB78D}" destId="{C60EE992-18B3-4DD4-9424-2334EE538BB8}" srcOrd="0" destOrd="0" presId="urn:microsoft.com/office/officeart/2008/layout/HorizontalMultiLevelHierarchy"/>
    <dgm:cxn modelId="{4413C222-C36F-4033-8836-2A3170FA26E8}" type="presParOf" srcId="{8CDDF40D-1510-4784-AB23-F16AADCBB78D}" destId="{46B42FDC-C479-4452-9758-5C34976D1B43}" srcOrd="1" destOrd="0" presId="urn:microsoft.com/office/officeart/2008/layout/HorizontalMultiLevelHierarchy"/>
    <dgm:cxn modelId="{437DA66D-BC94-457C-A32F-DA4697E4886E}" type="presParOf" srcId="{4D3E1B24-9179-4715-A99F-19BA7FFE862E}" destId="{CEF44A19-433C-4CE9-810E-E545540DE7A8}" srcOrd="4" destOrd="0" presId="urn:microsoft.com/office/officeart/2008/layout/HorizontalMultiLevelHierarchy"/>
    <dgm:cxn modelId="{A246813E-3201-4DA2-8936-156866F54439}" type="presParOf" srcId="{CEF44A19-433C-4CE9-810E-E545540DE7A8}" destId="{326F04C8-13A5-48B6-B7A6-249492A53A3E}" srcOrd="0" destOrd="0" presId="urn:microsoft.com/office/officeart/2008/layout/HorizontalMultiLevelHierarchy"/>
    <dgm:cxn modelId="{89898071-4529-40F2-B4B1-1B7B319B203F}" type="presParOf" srcId="{4D3E1B24-9179-4715-A99F-19BA7FFE862E}" destId="{7A8F3DB0-528B-4C5E-B2C6-06EBF55BD67D}" srcOrd="5" destOrd="0" presId="urn:microsoft.com/office/officeart/2008/layout/HorizontalMultiLevelHierarchy"/>
    <dgm:cxn modelId="{D92B6EE2-79B2-4ECC-A3EB-6B6A859DA921}" type="presParOf" srcId="{7A8F3DB0-528B-4C5E-B2C6-06EBF55BD67D}" destId="{0DBE7C78-B023-4D56-B645-0C24C0E7D7F8}" srcOrd="0" destOrd="0" presId="urn:microsoft.com/office/officeart/2008/layout/HorizontalMultiLevelHierarchy"/>
    <dgm:cxn modelId="{009DC53D-AF68-4821-A34E-F871BFC54A95}" type="presParOf" srcId="{7A8F3DB0-528B-4C5E-B2C6-06EBF55BD67D}" destId="{252770EF-2AB8-47CC-B359-12968AC3E174}" srcOrd="1" destOrd="0" presId="urn:microsoft.com/office/officeart/2008/layout/HorizontalMultiLevelHierarchy"/>
    <dgm:cxn modelId="{641BC9D9-2B6D-4B16-91C3-003AC0D8B7F4}" type="presParOf" srcId="{4D3E1B24-9179-4715-A99F-19BA7FFE862E}" destId="{49E4987C-98FE-4039-8BED-035244EEBB45}" srcOrd="6" destOrd="0" presId="urn:microsoft.com/office/officeart/2008/layout/HorizontalMultiLevelHierarchy"/>
    <dgm:cxn modelId="{EB25DA59-1AC7-4218-9C6F-B17703427A5A}" type="presParOf" srcId="{49E4987C-98FE-4039-8BED-035244EEBB45}" destId="{A4BBB152-285E-48A9-B645-041E44827835}" srcOrd="0" destOrd="0" presId="urn:microsoft.com/office/officeart/2008/layout/HorizontalMultiLevelHierarchy"/>
    <dgm:cxn modelId="{859F04FE-4EEA-4BB4-AA1E-F5FDA943224E}" type="presParOf" srcId="{4D3E1B24-9179-4715-A99F-19BA7FFE862E}" destId="{775165DF-88E7-4C3D-BD0D-10B070D7826B}" srcOrd="7" destOrd="0" presId="urn:microsoft.com/office/officeart/2008/layout/HorizontalMultiLevelHierarchy"/>
    <dgm:cxn modelId="{77DE3531-14A5-4D2B-AB6C-C6B34FB7458D}" type="presParOf" srcId="{775165DF-88E7-4C3D-BD0D-10B070D7826B}" destId="{3870D173-4236-4681-8646-83AE3B0FF44E}" srcOrd="0" destOrd="0" presId="urn:microsoft.com/office/officeart/2008/layout/HorizontalMultiLevelHierarchy"/>
    <dgm:cxn modelId="{CB78809B-9FD2-4E32-BEA3-2B32D3D7A43B}" type="presParOf" srcId="{775165DF-88E7-4C3D-BD0D-10B070D7826B}" destId="{104C0CD3-38C6-48CB-96E3-64A39156A69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E4987C-98FE-4039-8BED-035244EEBB45}">
      <dsp:nvSpPr>
        <dsp:cNvPr id="0" name=""/>
        <dsp:cNvSpPr/>
      </dsp:nvSpPr>
      <dsp:spPr>
        <a:xfrm>
          <a:off x="1022474" y="1536507"/>
          <a:ext cx="383020" cy="10947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91510" y="0"/>
              </a:lnTo>
              <a:lnTo>
                <a:pt x="191510" y="1094761"/>
              </a:lnTo>
              <a:lnTo>
                <a:pt x="383020" y="109476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184989" y="2054892"/>
        <a:ext cx="57991" cy="57991"/>
      </dsp:txXfrm>
    </dsp:sp>
    <dsp:sp modelId="{CEF44A19-433C-4CE9-810E-E545540DE7A8}">
      <dsp:nvSpPr>
        <dsp:cNvPr id="0" name=""/>
        <dsp:cNvSpPr/>
      </dsp:nvSpPr>
      <dsp:spPr>
        <a:xfrm>
          <a:off x="1022474" y="1536507"/>
          <a:ext cx="383020" cy="3649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91510" y="0"/>
              </a:lnTo>
              <a:lnTo>
                <a:pt x="191510" y="364920"/>
              </a:lnTo>
              <a:lnTo>
                <a:pt x="383020" y="3649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200759" y="1705742"/>
        <a:ext cx="26451" cy="26451"/>
      </dsp:txXfrm>
    </dsp:sp>
    <dsp:sp modelId="{31D5E26A-D979-491A-9C3A-5F23DE802715}">
      <dsp:nvSpPr>
        <dsp:cNvPr id="0" name=""/>
        <dsp:cNvSpPr/>
      </dsp:nvSpPr>
      <dsp:spPr>
        <a:xfrm>
          <a:off x="1022474" y="1171586"/>
          <a:ext cx="383020" cy="364920"/>
        </a:xfrm>
        <a:custGeom>
          <a:avLst/>
          <a:gdLst/>
          <a:ahLst/>
          <a:cxnLst/>
          <a:rect l="0" t="0" r="0" b="0"/>
          <a:pathLst>
            <a:path>
              <a:moveTo>
                <a:pt x="0" y="364920"/>
              </a:moveTo>
              <a:lnTo>
                <a:pt x="191510" y="364920"/>
              </a:lnTo>
              <a:lnTo>
                <a:pt x="191510" y="0"/>
              </a:lnTo>
              <a:lnTo>
                <a:pt x="383020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200759" y="1340821"/>
        <a:ext cx="26451" cy="26451"/>
      </dsp:txXfrm>
    </dsp:sp>
    <dsp:sp modelId="{37534E3E-3479-46CC-9351-7FA3F9B33F42}">
      <dsp:nvSpPr>
        <dsp:cNvPr id="0" name=""/>
        <dsp:cNvSpPr/>
      </dsp:nvSpPr>
      <dsp:spPr>
        <a:xfrm>
          <a:off x="1022474" y="441745"/>
          <a:ext cx="383020" cy="1094761"/>
        </a:xfrm>
        <a:custGeom>
          <a:avLst/>
          <a:gdLst/>
          <a:ahLst/>
          <a:cxnLst/>
          <a:rect l="0" t="0" r="0" b="0"/>
          <a:pathLst>
            <a:path>
              <a:moveTo>
                <a:pt x="0" y="1094761"/>
              </a:moveTo>
              <a:lnTo>
                <a:pt x="191510" y="1094761"/>
              </a:lnTo>
              <a:lnTo>
                <a:pt x="191510" y="0"/>
              </a:lnTo>
              <a:lnTo>
                <a:pt x="383020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184989" y="960130"/>
        <a:ext cx="57991" cy="57991"/>
      </dsp:txXfrm>
    </dsp:sp>
    <dsp:sp modelId="{38FA7E49-FD69-4EDC-AEC2-E1369C52CC68}">
      <dsp:nvSpPr>
        <dsp:cNvPr id="0" name=""/>
        <dsp:cNvSpPr/>
      </dsp:nvSpPr>
      <dsp:spPr>
        <a:xfrm rot="16200000">
          <a:off x="-805969" y="1244571"/>
          <a:ext cx="3073015" cy="5838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SQL</a:t>
          </a:r>
          <a:endParaRPr lang="de-DE" sz="3800" kern="1200" dirty="0"/>
        </a:p>
      </dsp:txBody>
      <dsp:txXfrm>
        <a:off x="-805969" y="1244571"/>
        <a:ext cx="3073015" cy="583872"/>
      </dsp:txXfrm>
    </dsp:sp>
    <dsp:sp modelId="{53727E68-3A65-4F54-B389-1662651042E8}">
      <dsp:nvSpPr>
        <dsp:cNvPr id="0" name=""/>
        <dsp:cNvSpPr/>
      </dsp:nvSpPr>
      <dsp:spPr>
        <a:xfrm>
          <a:off x="1405495" y="149809"/>
          <a:ext cx="1915102" cy="583872"/>
        </a:xfrm>
        <a:prstGeom prst="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DDL</a:t>
          </a:r>
          <a:endParaRPr lang="de-DE" sz="3800" kern="1200" dirty="0"/>
        </a:p>
      </dsp:txBody>
      <dsp:txXfrm>
        <a:off x="1405495" y="149809"/>
        <a:ext cx="1915102" cy="583872"/>
      </dsp:txXfrm>
    </dsp:sp>
    <dsp:sp modelId="{C60EE992-18B3-4DD4-9424-2334EE538BB8}">
      <dsp:nvSpPr>
        <dsp:cNvPr id="0" name=""/>
        <dsp:cNvSpPr/>
      </dsp:nvSpPr>
      <dsp:spPr>
        <a:xfrm>
          <a:off x="1405495" y="879650"/>
          <a:ext cx="1915102" cy="583872"/>
        </a:xfrm>
        <a:prstGeom prst="rect">
          <a:avLst/>
        </a:prstGeom>
        <a:solidFill>
          <a:srgbClr val="D0D91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DML</a:t>
          </a:r>
          <a:endParaRPr lang="de-DE" sz="3800" kern="1200" dirty="0"/>
        </a:p>
      </dsp:txBody>
      <dsp:txXfrm>
        <a:off x="1405495" y="879650"/>
        <a:ext cx="1915102" cy="583872"/>
      </dsp:txXfrm>
    </dsp:sp>
    <dsp:sp modelId="{0DBE7C78-B023-4D56-B645-0C24C0E7D7F8}">
      <dsp:nvSpPr>
        <dsp:cNvPr id="0" name=""/>
        <dsp:cNvSpPr/>
      </dsp:nvSpPr>
      <dsp:spPr>
        <a:xfrm>
          <a:off x="1405495" y="1609491"/>
          <a:ext cx="1915102" cy="583872"/>
        </a:xfrm>
        <a:prstGeom prst="rect">
          <a:avLst/>
        </a:prstGeom>
        <a:solidFill>
          <a:srgbClr val="DE9A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DCL</a:t>
          </a:r>
          <a:endParaRPr lang="de-DE" sz="3800" kern="1200" dirty="0"/>
        </a:p>
      </dsp:txBody>
      <dsp:txXfrm>
        <a:off x="1405495" y="1609491"/>
        <a:ext cx="1915102" cy="583872"/>
      </dsp:txXfrm>
    </dsp:sp>
    <dsp:sp modelId="{3870D173-4236-4681-8646-83AE3B0FF44E}">
      <dsp:nvSpPr>
        <dsp:cNvPr id="0" name=""/>
        <dsp:cNvSpPr/>
      </dsp:nvSpPr>
      <dsp:spPr>
        <a:xfrm>
          <a:off x="1405495" y="2339332"/>
          <a:ext cx="1915102" cy="5838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TCL</a:t>
          </a:r>
          <a:endParaRPr lang="de-DE" sz="3800" kern="1200" dirty="0"/>
        </a:p>
      </dsp:txBody>
      <dsp:txXfrm>
        <a:off x="1405495" y="2339332"/>
        <a:ext cx="1915102" cy="5838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8.09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8.09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8.09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08.09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schools.com/sql/sql_create_db.asp" TargetMode="External"/><Relationship Id="rId2" Type="http://schemas.openxmlformats.org/officeDocument/2006/relationships/hyperlink" Target="https://www.youtube.com/playlist?list=PL_RGaFnxSHWr_6xTfF2FrIw-NAOo3iWMy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4168" y="1554982"/>
            <a:ext cx="9144000" cy="2387600"/>
          </a:xfrm>
        </p:spPr>
        <p:txBody>
          <a:bodyPr lIns="91440" tIns="45720" rIns="91440" bIns="45720" anchor="b"/>
          <a:lstStyle/>
          <a:p>
            <a:r>
              <a:rPr lang="de-DE" dirty="0"/>
              <a:t>Module 6: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smtClean="0"/>
              <a:t>SQL Day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XX.XX.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1808135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 smtClean="0">
                          <a:latin typeface="+mn-lt"/>
                        </a:rPr>
                        <a:t>Execise</a:t>
                      </a:r>
                      <a:r>
                        <a:rPr lang="de-DE" sz="1600" dirty="0" smtClean="0">
                          <a:latin typeface="+mn-lt"/>
                        </a:rPr>
                        <a:t> </a:t>
                      </a:r>
                      <a:r>
                        <a:rPr lang="de-DE" sz="1600" dirty="0">
                          <a:latin typeface="+mn-lt"/>
                        </a:rPr>
                        <a:t>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SQ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smtClean="0"/>
              <a:t>SQL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SQL do?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sz="1600" dirty="0"/>
              <a:t>SQL stands for Structured Query </a:t>
            </a:r>
            <a:r>
              <a:rPr lang="en-IN" sz="1600" dirty="0" smtClean="0"/>
              <a:t>Language which lets </a:t>
            </a:r>
            <a:r>
              <a:rPr lang="en-IN" sz="1600" dirty="0"/>
              <a:t>you access and manipulate databases</a:t>
            </a:r>
          </a:p>
          <a:p>
            <a:r>
              <a:rPr lang="en-IN" sz="1600" dirty="0"/>
              <a:t>SQL is used to perform operations on the records stored in the database, such as updating records, inserting records, deleting records, creating and modifying database tables, views, </a:t>
            </a:r>
            <a:r>
              <a:rPr lang="en-IN" sz="1600" dirty="0" smtClean="0"/>
              <a:t>etc. SQL </a:t>
            </a:r>
            <a:r>
              <a:rPr lang="en-IN" sz="1600" dirty="0"/>
              <a:t>is not a database system, but it is a query language.</a:t>
            </a:r>
          </a:p>
          <a:p>
            <a:r>
              <a:rPr lang="en-IN" sz="1600" dirty="0"/>
              <a:t>SQL can retrieve data from a database</a:t>
            </a:r>
          </a:p>
          <a:p>
            <a:r>
              <a:rPr lang="en-IN" sz="1600" dirty="0"/>
              <a:t>SQL can </a:t>
            </a:r>
            <a:r>
              <a:rPr lang="en-IN" sz="1600" dirty="0" smtClean="0"/>
              <a:t>insert, update and </a:t>
            </a:r>
            <a:r>
              <a:rPr lang="en-IN" sz="1600" dirty="0"/>
              <a:t>delete records from a database</a:t>
            </a:r>
          </a:p>
          <a:p>
            <a:r>
              <a:rPr lang="en-IN" sz="1600" dirty="0"/>
              <a:t>SQL can create new databases</a:t>
            </a:r>
          </a:p>
          <a:p>
            <a:r>
              <a:rPr lang="en-IN" sz="1600" dirty="0"/>
              <a:t>SQL can create new tables in a database</a:t>
            </a:r>
          </a:p>
          <a:p>
            <a:r>
              <a:rPr lang="en-IN" sz="1600" dirty="0"/>
              <a:t>SQL can create stored procedures in a database</a:t>
            </a:r>
          </a:p>
          <a:p>
            <a:r>
              <a:rPr lang="en-IN" sz="1600" dirty="0"/>
              <a:t>SQL can create views in a database</a:t>
            </a:r>
          </a:p>
          <a:p>
            <a:r>
              <a:rPr lang="en-IN" sz="1600" dirty="0"/>
              <a:t>SQL can set permissions on tables, procedures, and views</a:t>
            </a:r>
          </a:p>
          <a:p>
            <a:endParaRPr lang="en-IN" sz="1600" dirty="0"/>
          </a:p>
          <a:p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 smtClean="0"/>
              <a:t>Yakha</a:t>
            </a:r>
            <a:r>
              <a:rPr lang="de-DE" dirty="0" smtClean="0"/>
              <a:t> GmbH</a:t>
            </a:r>
            <a:endParaRPr lang="en-IN" dirty="0"/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433083420"/>
              </p:ext>
            </p:extLst>
          </p:nvPr>
        </p:nvGraphicFramePr>
        <p:xfrm>
          <a:off x="6400800" y="2762865"/>
          <a:ext cx="3759200" cy="30730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83576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sz="1600" dirty="0"/>
              <a:t>Watch the videos 1-11 of the below playlist:</a:t>
            </a:r>
          </a:p>
          <a:p>
            <a:r>
              <a:rPr lang="en-IN" sz="1600" i="1" dirty="0">
                <a:hlinkClick r:id="rId2"/>
              </a:rPr>
              <a:t>https://www.youtube.com/playlist?list=PL_RGaFnxSHWr_6xTfF2FrIw-NAOo3iWMy</a:t>
            </a:r>
            <a:endParaRPr lang="en-IN" sz="1600" dirty="0"/>
          </a:p>
          <a:p>
            <a:r>
              <a:rPr lang="en-IN" sz="1600" dirty="0"/>
              <a:t>Go through the below training material- SQL Database section:</a:t>
            </a:r>
          </a:p>
          <a:p>
            <a:r>
              <a:rPr lang="en-IN" sz="1600" i="1" dirty="0">
                <a:hlinkClick r:id="rId3"/>
              </a:rPr>
              <a:t>https://www.w3schools.com/sql/sql_create_db.asp</a:t>
            </a:r>
            <a:endParaRPr lang="en-IN" sz="1600" dirty="0"/>
          </a:p>
          <a:p>
            <a:endParaRPr lang="en-IN" sz="2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352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/>
              <a:t>Answe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questions</a:t>
            </a:r>
            <a:r>
              <a:rPr lang="de-DE" dirty="0" smtClean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What </a:t>
            </a:r>
            <a:r>
              <a:rPr lang="en-IN" sz="1600" dirty="0"/>
              <a:t>are Entities and Relationship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rite a SQL query to delete a table from the database and memory while keeping the structure of the table intact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are the different subsets of 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A </a:t>
            </a:r>
            <a:r>
              <a:rPr lang="en-IN" sz="1600" dirty="0"/>
              <a:t>table named 123_A is created for storing the number of employees in an organization. What is wrong in the name of the table?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600" dirty="0" err="1" smtClean="0"/>
              <a:t>How</a:t>
            </a:r>
            <a:r>
              <a:rPr lang="de-DE" sz="1600" dirty="0" smtClean="0"/>
              <a:t> </a:t>
            </a:r>
            <a:r>
              <a:rPr lang="de-DE" sz="1600" dirty="0"/>
              <a:t>do I </a:t>
            </a:r>
            <a:r>
              <a:rPr lang="de-DE" sz="1600" dirty="0" err="1"/>
              <a:t>rename</a:t>
            </a:r>
            <a:r>
              <a:rPr lang="de-DE" sz="1600" dirty="0"/>
              <a:t> a </a:t>
            </a:r>
            <a:r>
              <a:rPr lang="de-DE" sz="1600" dirty="0" err="1"/>
              <a:t>column</a:t>
            </a:r>
            <a:r>
              <a:rPr lang="de-DE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SQL and My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a DEFAULT constraint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a UNIQUE constraint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Primary Key, Foreign Key and Unique Key</a:t>
            </a:r>
            <a:r>
              <a:rPr lang="en-IN" sz="1600" dirty="0" smtClean="0"/>
              <a:t>?</a:t>
            </a:r>
          </a:p>
          <a:p>
            <a:endParaRPr lang="en-IN" sz="2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2723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/>
              <a:t>Answe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questions</a:t>
            </a:r>
            <a:r>
              <a:rPr lang="de-DE" dirty="0" smtClean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 startAt="10"/>
            </a:pPr>
            <a:r>
              <a:rPr lang="en-IN" sz="1600" dirty="0" smtClean="0"/>
              <a:t>Can </a:t>
            </a:r>
            <a:r>
              <a:rPr lang="en-IN" sz="1600" dirty="0"/>
              <a:t>a Foreign Key reference a Non-Primary Key?</a:t>
            </a:r>
          </a:p>
          <a:p>
            <a:pPr marL="228600" indent="-228600">
              <a:buFont typeface="+mj-lt"/>
              <a:buAutoNum type="arabicPeriod" startAt="10"/>
            </a:pPr>
            <a:r>
              <a:rPr lang="en-IN" sz="1600" dirty="0"/>
              <a:t>What is Surrogate Key? Why do we use it?</a:t>
            </a:r>
          </a:p>
          <a:p>
            <a:pPr marL="342900" indent="-342900">
              <a:buFont typeface="+mj-lt"/>
              <a:buAutoNum type="arabicPeriod" startAt="10"/>
            </a:pPr>
            <a:r>
              <a:rPr lang="en-IN" sz="1600" dirty="0"/>
              <a:t>What is referential Integrity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 startAt="10"/>
            </a:pPr>
            <a:r>
              <a:rPr lang="en-IN" sz="1600" dirty="0" smtClean="0"/>
              <a:t>What </a:t>
            </a:r>
            <a:r>
              <a:rPr lang="en-IN" sz="1600" dirty="0"/>
              <a:t>is the difference between CHAR and VARCHAR2 datatype in 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 startAt="10"/>
            </a:pPr>
            <a:r>
              <a:rPr lang="en-IN" sz="1600" dirty="0"/>
              <a:t>What do you </a:t>
            </a:r>
            <a:r>
              <a:rPr lang="en-IN" sz="1600" dirty="0" smtClean="0"/>
              <a:t>understand </a:t>
            </a:r>
            <a:r>
              <a:rPr lang="en-IN" sz="1600" dirty="0"/>
              <a:t>by table and field in SQL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 startAt="10"/>
            </a:pPr>
            <a:r>
              <a:rPr lang="en-IN" sz="1600" dirty="0"/>
              <a:t>What is Data Integrity?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0674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/>
              <a:t>Solv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exercise</a:t>
            </a:r>
            <a:r>
              <a:rPr lang="de-DE" dirty="0" smtClean="0"/>
              <a:t> </a:t>
            </a:r>
            <a:r>
              <a:rPr lang="de-DE" dirty="0" err="1" smtClean="0"/>
              <a:t>questions</a:t>
            </a:r>
            <a:r>
              <a:rPr lang="de-DE" dirty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sz="1600" dirty="0"/>
              <a:t>Create a </a:t>
            </a:r>
            <a:r>
              <a:rPr lang="de-DE" sz="1600" dirty="0" err="1"/>
              <a:t>database</a:t>
            </a:r>
            <a:r>
              <a:rPr lang="de-DE" sz="1600" dirty="0"/>
              <a:t> </a:t>
            </a:r>
            <a:r>
              <a:rPr lang="de-DE" sz="1600" dirty="0" err="1"/>
              <a:t>named</a:t>
            </a:r>
            <a:r>
              <a:rPr lang="de-DE" sz="1600" dirty="0"/>
              <a:t> ´</a:t>
            </a:r>
            <a:r>
              <a:rPr lang="de-DE" sz="1600" b="1" dirty="0" err="1"/>
              <a:t>PracticeDB</a:t>
            </a:r>
            <a:r>
              <a:rPr lang="de-DE" sz="1600" dirty="0"/>
              <a:t>´.</a:t>
            </a:r>
          </a:p>
          <a:p>
            <a:pPr marL="342900" indent="-342900">
              <a:buFont typeface="+mj-lt"/>
              <a:buAutoNum type="arabicPeriod"/>
            </a:pPr>
            <a:r>
              <a:rPr lang="de-DE" sz="1600" dirty="0"/>
              <a:t>Write a </a:t>
            </a:r>
            <a:r>
              <a:rPr lang="de-DE" sz="1600" dirty="0" err="1"/>
              <a:t>query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creat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below</a:t>
            </a:r>
            <a:r>
              <a:rPr lang="de-DE" sz="1600" dirty="0"/>
              <a:t> tables-´</a:t>
            </a:r>
            <a:r>
              <a:rPr lang="de-DE" sz="1600" b="1" dirty="0"/>
              <a:t>Table1</a:t>
            </a:r>
            <a:r>
              <a:rPr lang="de-DE" sz="1600" dirty="0"/>
              <a:t>´ </a:t>
            </a:r>
            <a:r>
              <a:rPr lang="de-DE" sz="1600" dirty="0" err="1"/>
              <a:t>and</a:t>
            </a:r>
            <a:r>
              <a:rPr lang="de-DE" sz="1600" dirty="0"/>
              <a:t> ´</a:t>
            </a:r>
            <a:r>
              <a:rPr lang="de-DE" sz="1600" b="1" dirty="0"/>
              <a:t>Table2</a:t>
            </a:r>
            <a:r>
              <a:rPr lang="de-DE" sz="1600" dirty="0"/>
              <a:t>´. </a:t>
            </a:r>
            <a:r>
              <a:rPr lang="de-DE" sz="1600" dirty="0" err="1"/>
              <a:t>Use</a:t>
            </a:r>
            <a:r>
              <a:rPr lang="de-DE" sz="1600" dirty="0"/>
              <a:t> </a:t>
            </a:r>
            <a:r>
              <a:rPr lang="de-DE" sz="1600" dirty="0" err="1"/>
              <a:t>appropriate</a:t>
            </a:r>
            <a:r>
              <a:rPr lang="de-DE" sz="1600" dirty="0"/>
              <a:t> </a:t>
            </a:r>
            <a:r>
              <a:rPr lang="de-DE" sz="1600" dirty="0" err="1"/>
              <a:t>datatyp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columns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use</a:t>
            </a:r>
            <a:r>
              <a:rPr lang="de-DE" sz="1600" dirty="0"/>
              <a:t> proper </a:t>
            </a:r>
            <a:r>
              <a:rPr lang="de-DE" sz="1600" dirty="0" err="1"/>
              <a:t>naming</a:t>
            </a:r>
            <a:r>
              <a:rPr lang="de-DE" sz="1600" dirty="0"/>
              <a:t> </a:t>
            </a:r>
            <a:r>
              <a:rPr lang="de-DE" sz="1600" dirty="0" err="1"/>
              <a:t>convention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able</a:t>
            </a:r>
            <a:r>
              <a:rPr lang="de-DE" sz="1600" dirty="0"/>
              <a:t> </a:t>
            </a:r>
            <a:r>
              <a:rPr lang="de-DE" sz="1600" dirty="0" err="1"/>
              <a:t>names</a:t>
            </a:r>
            <a:r>
              <a:rPr lang="de-DE" sz="1600" dirty="0"/>
              <a:t>. </a:t>
            </a:r>
            <a:r>
              <a:rPr lang="de-DE" sz="1600" dirty="0" err="1"/>
              <a:t>Column</a:t>
            </a:r>
            <a:r>
              <a:rPr lang="de-DE" sz="1600" dirty="0"/>
              <a:t> ´</a:t>
            </a:r>
            <a:r>
              <a:rPr lang="de-DE" sz="1600" b="1" dirty="0"/>
              <a:t>A</a:t>
            </a:r>
            <a:r>
              <a:rPr lang="de-DE" sz="1600" dirty="0"/>
              <a:t>´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primary</a:t>
            </a:r>
            <a:r>
              <a:rPr lang="de-DE" sz="1600" dirty="0"/>
              <a:t> </a:t>
            </a:r>
            <a:r>
              <a:rPr lang="de-DE" sz="1600" dirty="0" err="1"/>
              <a:t>key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rst</a:t>
            </a:r>
            <a:r>
              <a:rPr lang="de-DE" sz="1600" dirty="0"/>
              <a:t> </a:t>
            </a:r>
            <a:r>
              <a:rPr lang="de-DE" sz="1600" dirty="0" err="1"/>
              <a:t>table</a:t>
            </a:r>
            <a:r>
              <a:rPr lang="de-DE" sz="1600" dirty="0"/>
              <a:t>,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alue</a:t>
            </a:r>
            <a:r>
              <a:rPr lang="de-DE" sz="1600" dirty="0"/>
              <a:t> in </a:t>
            </a:r>
            <a:r>
              <a:rPr lang="de-DE" sz="1600" dirty="0" err="1"/>
              <a:t>column</a:t>
            </a:r>
            <a:r>
              <a:rPr lang="de-DE" sz="1600" dirty="0"/>
              <a:t> ´</a:t>
            </a:r>
            <a:r>
              <a:rPr lang="de-DE" sz="1600" b="1" dirty="0"/>
              <a:t>C</a:t>
            </a:r>
            <a:r>
              <a:rPr lang="de-DE" sz="1600" dirty="0"/>
              <a:t>´ </a:t>
            </a:r>
            <a:r>
              <a:rPr lang="de-DE" sz="1600" dirty="0" err="1"/>
              <a:t>should</a:t>
            </a:r>
            <a:r>
              <a:rPr lang="de-DE" sz="1600" dirty="0"/>
              <a:t> </a:t>
            </a:r>
            <a:r>
              <a:rPr lang="de-DE" sz="1600" dirty="0" err="1"/>
              <a:t>increase</a:t>
            </a:r>
            <a:r>
              <a:rPr lang="de-DE" sz="1600" dirty="0"/>
              <a:t> </a:t>
            </a:r>
            <a:r>
              <a:rPr lang="de-DE" sz="1600" dirty="0" err="1"/>
              <a:t>automatically</a:t>
            </a:r>
            <a:r>
              <a:rPr lang="de-DE" sz="1600" dirty="0"/>
              <a:t> </a:t>
            </a:r>
            <a:r>
              <a:rPr lang="de-DE" sz="1600" dirty="0" err="1"/>
              <a:t>starting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50, </a:t>
            </a:r>
            <a:r>
              <a:rPr lang="de-DE" sz="1600" dirty="0" err="1"/>
              <a:t>column</a:t>
            </a:r>
            <a:r>
              <a:rPr lang="de-DE" sz="1600" dirty="0"/>
              <a:t> ´</a:t>
            </a:r>
            <a:r>
              <a:rPr lang="de-DE" sz="1600" b="1" dirty="0"/>
              <a:t>D</a:t>
            </a:r>
            <a:r>
              <a:rPr lang="de-DE" sz="1600" dirty="0"/>
              <a:t>´ </a:t>
            </a:r>
            <a:r>
              <a:rPr lang="de-DE" sz="1600" dirty="0" err="1"/>
              <a:t>should</a:t>
            </a:r>
            <a:r>
              <a:rPr lang="de-DE" sz="1600" dirty="0"/>
              <a:t> </a:t>
            </a:r>
            <a:r>
              <a:rPr lang="de-DE" sz="1600" dirty="0" err="1"/>
              <a:t>hav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value</a:t>
            </a:r>
            <a:r>
              <a:rPr lang="de-DE" sz="1600" dirty="0"/>
              <a:t> ´z´ </a:t>
            </a:r>
            <a:r>
              <a:rPr lang="de-DE" sz="1600" dirty="0" err="1"/>
              <a:t>for</a:t>
            </a:r>
            <a:r>
              <a:rPr lang="de-DE" sz="1600" dirty="0"/>
              <a:t> all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row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able</a:t>
            </a:r>
            <a:r>
              <a:rPr lang="de-DE" sz="1600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de-DE" sz="1600" dirty="0"/>
          </a:p>
          <a:p>
            <a:pPr marL="342900" indent="-342900">
              <a:buFont typeface="+mj-lt"/>
              <a:buAutoNum type="arabicPeriod"/>
            </a:pPr>
            <a:endParaRPr lang="de-DE" sz="1600" dirty="0"/>
          </a:p>
          <a:p>
            <a:pPr marL="342900" indent="-342900">
              <a:buFont typeface="+mj-lt"/>
              <a:buAutoNum type="arabicPeriod"/>
            </a:pPr>
            <a:endParaRPr lang="de-DE" sz="1600" dirty="0"/>
          </a:p>
          <a:p>
            <a:pPr marL="342900" indent="-342900">
              <a:buFont typeface="+mj-lt"/>
              <a:buAutoNum type="arabicPeriod"/>
            </a:pPr>
            <a:endParaRPr lang="de-D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600" dirty="0" smtClean="0"/>
              <a:t>Write </a:t>
            </a:r>
            <a:r>
              <a:rPr lang="de-DE" sz="1600" dirty="0"/>
              <a:t>a </a:t>
            </a:r>
            <a:r>
              <a:rPr lang="de-DE" sz="1600" dirty="0" err="1"/>
              <a:t>query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create</a:t>
            </a:r>
            <a:r>
              <a:rPr lang="de-DE" sz="1600" dirty="0"/>
              <a:t> ´</a:t>
            </a:r>
            <a:r>
              <a:rPr lang="de-DE" sz="1600" b="1" dirty="0"/>
              <a:t>Table3</a:t>
            </a:r>
            <a:r>
              <a:rPr lang="de-DE" sz="1600" dirty="0"/>
              <a:t>´. In </a:t>
            </a:r>
            <a:r>
              <a:rPr lang="de-DE" sz="1600" dirty="0" err="1"/>
              <a:t>this</a:t>
            </a:r>
            <a:r>
              <a:rPr lang="de-DE" sz="1600" dirty="0"/>
              <a:t> </a:t>
            </a:r>
            <a:r>
              <a:rPr lang="de-DE" sz="1600" dirty="0" err="1"/>
              <a:t>table</a:t>
            </a:r>
            <a:r>
              <a:rPr lang="de-DE" sz="1600" dirty="0"/>
              <a:t>, </a:t>
            </a:r>
            <a:r>
              <a:rPr lang="de-DE" sz="1600" dirty="0" err="1"/>
              <a:t>columns</a:t>
            </a:r>
            <a:r>
              <a:rPr lang="de-DE" sz="1600" dirty="0"/>
              <a:t> ´</a:t>
            </a:r>
            <a:r>
              <a:rPr lang="de-DE" sz="1600" b="1" dirty="0"/>
              <a:t>A</a:t>
            </a:r>
            <a:r>
              <a:rPr lang="de-DE" sz="1600" dirty="0"/>
              <a:t>´ </a:t>
            </a:r>
            <a:r>
              <a:rPr lang="de-DE" sz="1600" dirty="0" err="1"/>
              <a:t>and</a:t>
            </a:r>
            <a:r>
              <a:rPr lang="de-DE" sz="1600" dirty="0"/>
              <a:t> ´</a:t>
            </a:r>
            <a:r>
              <a:rPr lang="de-DE" sz="1600" b="1" dirty="0"/>
              <a:t>E</a:t>
            </a:r>
            <a:r>
              <a:rPr lang="de-DE" sz="1600" dirty="0"/>
              <a:t>´ </a:t>
            </a:r>
            <a:r>
              <a:rPr lang="de-DE" sz="1600" dirty="0" err="1"/>
              <a:t>together</a:t>
            </a:r>
            <a:r>
              <a:rPr lang="de-DE" sz="1600" dirty="0"/>
              <a:t> </a:t>
            </a:r>
            <a:r>
              <a:rPr lang="de-DE" sz="1600" dirty="0" err="1"/>
              <a:t>sould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primary</a:t>
            </a:r>
            <a:r>
              <a:rPr lang="de-DE" sz="1600" dirty="0"/>
              <a:t> </a:t>
            </a:r>
            <a:r>
              <a:rPr lang="de-DE" sz="1600" dirty="0" err="1"/>
              <a:t>key</a:t>
            </a:r>
            <a:r>
              <a:rPr lang="de-DE" sz="1600" dirty="0"/>
              <a:t>,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column</a:t>
            </a:r>
            <a:r>
              <a:rPr lang="de-DE" sz="1600" dirty="0"/>
              <a:t> ´</a:t>
            </a:r>
            <a:r>
              <a:rPr lang="de-DE" sz="1600" b="1" dirty="0"/>
              <a:t>A</a:t>
            </a:r>
            <a:r>
              <a:rPr lang="de-DE" sz="1600" dirty="0"/>
              <a:t>´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table3 </a:t>
            </a:r>
            <a:r>
              <a:rPr lang="de-DE" sz="1600" dirty="0" err="1"/>
              <a:t>should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foreign</a:t>
            </a:r>
            <a:r>
              <a:rPr lang="de-DE" sz="1600" dirty="0"/>
              <a:t> </a:t>
            </a:r>
            <a:r>
              <a:rPr lang="de-DE" sz="1600" dirty="0" err="1"/>
              <a:t>key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smtClean="0"/>
              <a:t>table1.</a:t>
            </a:r>
            <a:endParaRPr lang="en-IN" sz="1600" dirty="0"/>
          </a:p>
          <a:p>
            <a:pPr marL="457200" indent="-457200">
              <a:buFont typeface="+mj-lt"/>
              <a:buAutoNum type="arabicPeriod"/>
            </a:pPr>
            <a:endParaRPr lang="en-IN" sz="2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  <p:graphicFrame>
        <p:nvGraphicFramePr>
          <p:cNvPr id="21" name="Table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688571"/>
              </p:ext>
            </p:extLst>
          </p:nvPr>
        </p:nvGraphicFramePr>
        <p:xfrm>
          <a:off x="1804964" y="3524221"/>
          <a:ext cx="1163782" cy="914400"/>
        </p:xfrm>
        <a:graphic>
          <a:graphicData uri="http://schemas.openxmlformats.org/drawingml/2006/table">
            <a:tbl>
              <a:tblPr firstRow="1" bandRow="1"/>
              <a:tblGrid>
                <a:gridCol w="581891">
                  <a:extLst>
                    <a:ext uri="{9D8B030D-6E8A-4147-A177-3AD203B41FA5}">
                      <a16:colId xmlns:a16="http://schemas.microsoft.com/office/drawing/2014/main" val="3928780314"/>
                    </a:ext>
                  </a:extLst>
                </a:gridCol>
                <a:gridCol w="581891">
                  <a:extLst>
                    <a:ext uri="{9D8B030D-6E8A-4147-A177-3AD203B41FA5}">
                      <a16:colId xmlns:a16="http://schemas.microsoft.com/office/drawing/2014/main" val="267272464"/>
                    </a:ext>
                  </a:extLst>
                </a:gridCol>
              </a:tblGrid>
              <a:tr h="2600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A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B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975942"/>
                  </a:ext>
                </a:extLst>
              </a:tr>
              <a:tr h="2600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a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1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67336"/>
                  </a:ext>
                </a:extLst>
              </a:tr>
              <a:tr h="2600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b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2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125575"/>
                  </a:ext>
                </a:extLst>
              </a:tr>
            </a:tbl>
          </a:graphicData>
        </a:graphic>
      </p:graphicFrame>
      <p:graphicFrame>
        <p:nvGraphicFramePr>
          <p:cNvPr id="22" name="Table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7976512"/>
              </p:ext>
            </p:extLst>
          </p:nvPr>
        </p:nvGraphicFramePr>
        <p:xfrm>
          <a:off x="4374983" y="3524221"/>
          <a:ext cx="1180244" cy="914400"/>
        </p:xfrm>
        <a:graphic>
          <a:graphicData uri="http://schemas.openxmlformats.org/drawingml/2006/table">
            <a:tbl>
              <a:tblPr firstRow="1" bandRow="1"/>
              <a:tblGrid>
                <a:gridCol w="590122">
                  <a:extLst>
                    <a:ext uri="{9D8B030D-6E8A-4147-A177-3AD203B41FA5}">
                      <a16:colId xmlns:a16="http://schemas.microsoft.com/office/drawing/2014/main" val="3928780314"/>
                    </a:ext>
                  </a:extLst>
                </a:gridCol>
                <a:gridCol w="590122">
                  <a:extLst>
                    <a:ext uri="{9D8B030D-6E8A-4147-A177-3AD203B41FA5}">
                      <a16:colId xmlns:a16="http://schemas.microsoft.com/office/drawing/2014/main" val="267272464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C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D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975942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50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z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67336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51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z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125575"/>
                  </a:ext>
                </a:extLst>
              </a:tr>
            </a:tbl>
          </a:graphicData>
        </a:graphic>
      </p:graphicFrame>
      <p:sp>
        <p:nvSpPr>
          <p:cNvPr id="23" name="Textfeld 22"/>
          <p:cNvSpPr txBox="1"/>
          <p:nvPr/>
        </p:nvSpPr>
        <p:spPr>
          <a:xfrm>
            <a:off x="1975836" y="3225489"/>
            <a:ext cx="8220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 smtClean="0">
                <a:solidFill>
                  <a:prstClr val="black"/>
                </a:solidFill>
                <a:latin typeface="Calibri" panose="020F0502020204030204"/>
              </a:rPr>
              <a:t>Table1</a:t>
            </a:r>
            <a:endParaRPr lang="en-IN" b="1" i="1" dirty="0" smtClea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554086" y="3225489"/>
            <a:ext cx="8220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 smtClean="0">
                <a:solidFill>
                  <a:prstClr val="black"/>
                </a:solidFill>
                <a:latin typeface="Calibri" panose="020F0502020204030204"/>
              </a:rPr>
              <a:t>Table2</a:t>
            </a:r>
            <a:endParaRPr lang="en-IN" b="1" i="1" dirty="0" smtClean="0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25" name="Table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738267"/>
              </p:ext>
            </p:extLst>
          </p:nvPr>
        </p:nvGraphicFramePr>
        <p:xfrm>
          <a:off x="6894201" y="3524221"/>
          <a:ext cx="1360053" cy="914400"/>
        </p:xfrm>
        <a:graphic>
          <a:graphicData uri="http://schemas.openxmlformats.org/drawingml/2006/table">
            <a:tbl>
              <a:tblPr firstRow="1" bandRow="1"/>
              <a:tblGrid>
                <a:gridCol w="453351">
                  <a:extLst>
                    <a:ext uri="{9D8B030D-6E8A-4147-A177-3AD203B41FA5}">
                      <a16:colId xmlns:a16="http://schemas.microsoft.com/office/drawing/2014/main" val="3928780314"/>
                    </a:ext>
                  </a:extLst>
                </a:gridCol>
                <a:gridCol w="453351">
                  <a:extLst>
                    <a:ext uri="{9D8B030D-6E8A-4147-A177-3AD203B41FA5}">
                      <a16:colId xmlns:a16="http://schemas.microsoft.com/office/drawing/2014/main" val="267272464"/>
                    </a:ext>
                  </a:extLst>
                </a:gridCol>
                <a:gridCol w="453351">
                  <a:extLst>
                    <a:ext uri="{9D8B030D-6E8A-4147-A177-3AD203B41FA5}">
                      <a16:colId xmlns:a16="http://schemas.microsoft.com/office/drawing/2014/main" val="583729595"/>
                    </a:ext>
                  </a:extLst>
                </a:gridCol>
              </a:tblGrid>
              <a:tr h="2731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A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E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F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975942"/>
                  </a:ext>
                </a:extLst>
              </a:tr>
              <a:tr h="2731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a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x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5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67336"/>
                  </a:ext>
                </a:extLst>
              </a:tr>
              <a:tr h="2731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b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´y´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400" dirty="0" smtClean="0"/>
                        <a:t>6</a:t>
                      </a:r>
                      <a:endParaRPr lang="en-IN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125575"/>
                  </a:ext>
                </a:extLst>
              </a:tr>
            </a:tbl>
          </a:graphicData>
        </a:graphic>
      </p:graphicFrame>
      <p:sp>
        <p:nvSpPr>
          <p:cNvPr id="26" name="Textfeld 25"/>
          <p:cNvSpPr txBox="1"/>
          <p:nvPr/>
        </p:nvSpPr>
        <p:spPr>
          <a:xfrm>
            <a:off x="7163208" y="3206468"/>
            <a:ext cx="8220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400" b="1" i="1" dirty="0" smtClean="0">
                <a:solidFill>
                  <a:prstClr val="black"/>
                </a:solidFill>
                <a:latin typeface="Calibri" panose="020F0502020204030204"/>
              </a:rPr>
              <a:t>Table3</a:t>
            </a:r>
            <a:endParaRPr lang="en-IN" b="1" i="1" dirty="0" smtClea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6492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291c839-b064-4612-b2b7-7b9c954e2dde" xsi:nil="true"/>
    <lcf76f155ced4ddcb4097134ff3c332f xmlns="2e4748a0-b4ab-48db-9308-52f303955d84">
      <Terms xmlns="http://schemas.microsoft.com/office/infopath/2007/PartnerControls"/>
    </lcf76f155ced4ddcb4097134ff3c332f>
    <SharedWithUsers xmlns="7291c839-b064-4612-b2b7-7b9c954e2dde">
      <UserInfo>
        <DisplayName>Mannoor Dhingra</DisplayName>
        <AccountId>9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21C897DCB6489388739BE5152E52" ma:contentTypeVersion="16" ma:contentTypeDescription="Create a new document." ma:contentTypeScope="" ma:versionID="15e9a492a236b67c10d7344eab0cfbe7">
  <xsd:schema xmlns:xsd="http://www.w3.org/2001/XMLSchema" xmlns:xs="http://www.w3.org/2001/XMLSchema" xmlns:p="http://schemas.microsoft.com/office/2006/metadata/properties" xmlns:ns2="2e4748a0-b4ab-48db-9308-52f303955d84" xmlns:ns3="7291c839-b064-4612-b2b7-7b9c954e2dde" targetNamespace="http://schemas.microsoft.com/office/2006/metadata/properties" ma:root="true" ma:fieldsID="bb9454ce92790be3faebc74569886cba" ns2:_="" ns3:_="">
    <xsd:import namespace="2e4748a0-b4ab-48db-9308-52f303955d84"/>
    <xsd:import namespace="7291c839-b064-4612-b2b7-7b9c954e2d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748a0-b4ab-48db-9308-52f303955d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fd28c19-b00c-4795-afe6-d1f7b3d62b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91c839-b064-4612-b2b7-7b9c954e2dd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7041d1-890b-478a-a170-a8eb1609b767}" ma:internalName="TaxCatchAll" ma:showField="CatchAllData" ma:web="7291c839-b064-4612-b2b7-7b9c954e2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968C43-48D2-47B2-884B-9CA0EE399ADE}">
  <ds:schemaRefs>
    <ds:schemaRef ds:uri="http://schemas.microsoft.com/office/2006/metadata/properties"/>
    <ds:schemaRef ds:uri="2e4748a0-b4ab-48db-9308-52f303955d84"/>
    <ds:schemaRef ds:uri="7291c839-b064-4612-b2b7-7b9c954e2dde"/>
    <ds:schemaRef ds:uri="http://purl.org/dc/dcmitype/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7F28A1-8874-4ECB-AE7D-78A24C7066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4748a0-b4ab-48db-9308-52f303955d84"/>
    <ds:schemaRef ds:uri="7291c839-b064-4612-b2b7-7b9c954e2d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582</Words>
  <Application>Microsoft Office PowerPoint</Application>
  <PresentationFormat>Breitbild</PresentationFormat>
  <Paragraphs>115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6:  Introduction to SQL Day 1</vt:lpstr>
      <vt:lpstr>Agenda XX.XX.2022</vt:lpstr>
      <vt:lpstr>Introduction to SQL</vt:lpstr>
      <vt:lpstr>Material</vt:lpstr>
      <vt:lpstr>Questions</vt:lpstr>
      <vt:lpstr>Questions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8</cp:revision>
  <dcterms:created xsi:type="dcterms:W3CDTF">2022-02-14T14:16:18Z</dcterms:created>
  <dcterms:modified xsi:type="dcterms:W3CDTF">2022-09-08T09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421C897DCB6489388739BE5152E52</vt:lpwstr>
  </property>
  <property fmtid="{D5CDD505-2E9C-101B-9397-08002B2CF9AE}" pid="3" name="MediaServiceImageTags">
    <vt:lpwstr/>
  </property>
</Properties>
</file>